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10"/>
  </p:notesMasterIdLst>
  <p:sldIdLst>
    <p:sldId id="258" r:id="rId2"/>
    <p:sldId id="259" r:id="rId3"/>
    <p:sldId id="267" r:id="rId4"/>
    <p:sldId id="260" r:id="rId5"/>
    <p:sldId id="261" r:id="rId6"/>
    <p:sldId id="262" r:id="rId7"/>
    <p:sldId id="263" r:id="rId8"/>
    <p:sldId id="266" r:id="rId9"/>
  </p:sldIdLst>
  <p:sldSz cx="18288000" cy="10287000"/>
  <p:notesSz cx="6858000" cy="9144000"/>
  <p:embeddedFontLst>
    <p:embeddedFont>
      <p:font typeface="Anonymice Powerline" panose="02060609030202000504" pitchFamily="49" charset="0"/>
      <p:regular r:id="rId11"/>
      <p:bold r:id="rId12"/>
      <p:italic r:id="rId13"/>
      <p:boldItalic r:id="rId14"/>
    </p:embeddedFon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Raleway" pitchFamily="2" charset="0"/>
      <p:regular r:id="rId19"/>
      <p:bold r:id="rId20"/>
      <p:italic r:id="rId21"/>
      <p:boldItalic r:id="rId22"/>
    </p:embeddedFont>
    <p:embeddedFont>
      <p:font typeface="Roboto Light" panose="02000000000000000000" pitchFamily="2" charset="0"/>
      <p:regular r:id="rId23"/>
      <p:bold r:id="rId24"/>
      <p:italic r:id="rId25"/>
      <p:boldItalic r:id="rId26"/>
    </p:embeddedFont>
  </p:embeddedFontLst>
  <p:custDataLst>
    <p:tags r:id="rId2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96CDDA-029D-4DAE-9AE4-28AA5FBB92C2}" v="17" dt="2023-10-24T23:22:00.71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29"/>
    <p:restoredTop sz="94789"/>
  </p:normalViewPr>
  <p:slideViewPr>
    <p:cSldViewPr snapToGrid="0">
      <p:cViewPr varScale="1">
        <p:scale>
          <a:sx n="46" d="100"/>
          <a:sy n="46" d="100"/>
        </p:scale>
        <p:origin x="630" y="60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font" Target="fonts/font16.fntdata"/><Relationship Id="rId3" Type="http://schemas.openxmlformats.org/officeDocument/2006/relationships/slide" Target="slides/slide2.xml"/><Relationship Id="rId21" Type="http://schemas.openxmlformats.org/officeDocument/2006/relationships/font" Target="fonts/font11.fntdata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font" Target="fonts/font15.fntdata"/><Relationship Id="rId33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24" Type="http://schemas.openxmlformats.org/officeDocument/2006/relationships/font" Target="fonts/font14.fntdata"/><Relationship Id="rId32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23" Type="http://schemas.openxmlformats.org/officeDocument/2006/relationships/font" Target="fonts/font13.fntdata"/><Relationship Id="rId28" Type="http://schemas.openxmlformats.org/officeDocument/2006/relationships/presProps" Target="presProps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9.fntdata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tags" Target="tags/tag1.xml"/><Relationship Id="rId30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chmad Zaenuri" userId="e962b4c0-c8ac-4048-b6b8-c2c30e25db3b" providerId="ADAL" clId="{4C96CDDA-029D-4DAE-9AE4-28AA5FBB92C2}"/>
    <pc:docChg chg="custSel addSld delSld modSld modMainMaster">
      <pc:chgData name="Achmad Zaenuri" userId="e962b4c0-c8ac-4048-b6b8-c2c30e25db3b" providerId="ADAL" clId="{4C96CDDA-029D-4DAE-9AE4-28AA5FBB92C2}" dt="2023-10-25T03:39:42.675" v="242" actId="20577"/>
      <pc:docMkLst>
        <pc:docMk/>
      </pc:docMkLst>
      <pc:sldChg chg="modSp mod">
        <pc:chgData name="Achmad Zaenuri" userId="e962b4c0-c8ac-4048-b6b8-c2c30e25db3b" providerId="ADAL" clId="{4C96CDDA-029D-4DAE-9AE4-28AA5FBB92C2}" dt="2023-10-25T02:49:43.430" v="157" actId="20577"/>
        <pc:sldMkLst>
          <pc:docMk/>
          <pc:sldMk cId="0" sldId="258"/>
        </pc:sldMkLst>
        <pc:spChg chg="mod">
          <ac:chgData name="Achmad Zaenuri" userId="e962b4c0-c8ac-4048-b6b8-c2c30e25db3b" providerId="ADAL" clId="{4C96CDDA-029D-4DAE-9AE4-28AA5FBB92C2}" dt="2023-10-25T02:49:43.430" v="157" actId="20577"/>
          <ac:spMkLst>
            <pc:docMk/>
            <pc:sldMk cId="0" sldId="258"/>
            <ac:spMk id="4" creationId="{00000000-0000-0000-0000-000000000000}"/>
          </ac:spMkLst>
        </pc:spChg>
      </pc:sldChg>
      <pc:sldChg chg="modSp mod">
        <pc:chgData name="Achmad Zaenuri" userId="e962b4c0-c8ac-4048-b6b8-c2c30e25db3b" providerId="ADAL" clId="{4C96CDDA-029D-4DAE-9AE4-28AA5FBB92C2}" dt="2023-10-25T02:47:12.030" v="156" actId="20577"/>
        <pc:sldMkLst>
          <pc:docMk/>
          <pc:sldMk cId="0" sldId="259"/>
        </pc:sldMkLst>
        <pc:spChg chg="mod">
          <ac:chgData name="Achmad Zaenuri" userId="e962b4c0-c8ac-4048-b6b8-c2c30e25db3b" providerId="ADAL" clId="{4C96CDDA-029D-4DAE-9AE4-28AA5FBB92C2}" dt="2023-10-25T02:47:12.030" v="156" actId="20577"/>
          <ac:spMkLst>
            <pc:docMk/>
            <pc:sldMk cId="0" sldId="259"/>
            <ac:spMk id="3" creationId="{00000000-0000-0000-0000-000000000000}"/>
          </ac:spMkLst>
        </pc:spChg>
        <pc:spChg chg="mod">
          <ac:chgData name="Achmad Zaenuri" userId="e962b4c0-c8ac-4048-b6b8-c2c30e25db3b" providerId="ADAL" clId="{4C96CDDA-029D-4DAE-9AE4-28AA5FBB92C2}" dt="2023-10-25T02:45:37.171" v="31" actId="20577"/>
          <ac:spMkLst>
            <pc:docMk/>
            <pc:sldMk cId="0" sldId="259"/>
            <ac:spMk id="4" creationId="{00000000-0000-0000-0000-000000000000}"/>
          </ac:spMkLst>
        </pc:spChg>
      </pc:sldChg>
      <pc:sldChg chg="modSp">
        <pc:chgData name="Achmad Zaenuri" userId="e962b4c0-c8ac-4048-b6b8-c2c30e25db3b" providerId="ADAL" clId="{4C96CDDA-029D-4DAE-9AE4-28AA5FBB92C2}" dt="2023-10-24T23:20:56.602" v="13"/>
        <pc:sldMkLst>
          <pc:docMk/>
          <pc:sldMk cId="0" sldId="260"/>
        </pc:sldMkLst>
        <pc:spChg chg="mod">
          <ac:chgData name="Achmad Zaenuri" userId="e962b4c0-c8ac-4048-b6b8-c2c30e25db3b" providerId="ADAL" clId="{4C96CDDA-029D-4DAE-9AE4-28AA5FBB92C2}" dt="2023-10-24T23:20:56.602" v="13"/>
          <ac:spMkLst>
            <pc:docMk/>
            <pc:sldMk cId="0" sldId="260"/>
            <ac:spMk id="4" creationId="{00000000-0000-0000-0000-000000000000}"/>
          </ac:spMkLst>
        </pc:spChg>
      </pc:sldChg>
      <pc:sldChg chg="modSp">
        <pc:chgData name="Achmad Zaenuri" userId="e962b4c0-c8ac-4048-b6b8-c2c30e25db3b" providerId="ADAL" clId="{4C96CDDA-029D-4DAE-9AE4-28AA5FBB92C2}" dt="2023-10-24T23:20:56.602" v="13"/>
        <pc:sldMkLst>
          <pc:docMk/>
          <pc:sldMk cId="0" sldId="261"/>
        </pc:sldMkLst>
        <pc:spChg chg="mod">
          <ac:chgData name="Achmad Zaenuri" userId="e962b4c0-c8ac-4048-b6b8-c2c30e25db3b" providerId="ADAL" clId="{4C96CDDA-029D-4DAE-9AE4-28AA5FBB92C2}" dt="2023-10-24T23:20:56.602" v="13"/>
          <ac:spMkLst>
            <pc:docMk/>
            <pc:sldMk cId="0" sldId="261"/>
            <ac:spMk id="4" creationId="{00000000-0000-0000-0000-000000000000}"/>
          </ac:spMkLst>
        </pc:spChg>
      </pc:sldChg>
      <pc:sldChg chg="modSp mod">
        <pc:chgData name="Achmad Zaenuri" userId="e962b4c0-c8ac-4048-b6b8-c2c30e25db3b" providerId="ADAL" clId="{4C96CDDA-029D-4DAE-9AE4-28AA5FBB92C2}" dt="2023-10-25T03:39:42.675" v="242" actId="20577"/>
        <pc:sldMkLst>
          <pc:docMk/>
          <pc:sldMk cId="0" sldId="262"/>
        </pc:sldMkLst>
        <pc:spChg chg="mod">
          <ac:chgData name="Achmad Zaenuri" userId="e962b4c0-c8ac-4048-b6b8-c2c30e25db3b" providerId="ADAL" clId="{4C96CDDA-029D-4DAE-9AE4-28AA5FBB92C2}" dt="2023-10-25T03:39:42.675" v="242" actId="20577"/>
          <ac:spMkLst>
            <pc:docMk/>
            <pc:sldMk cId="0" sldId="262"/>
            <ac:spMk id="3" creationId="{00000000-0000-0000-0000-000000000000}"/>
          </ac:spMkLst>
        </pc:spChg>
        <pc:spChg chg="mod">
          <ac:chgData name="Achmad Zaenuri" userId="e962b4c0-c8ac-4048-b6b8-c2c30e25db3b" providerId="ADAL" clId="{4C96CDDA-029D-4DAE-9AE4-28AA5FBB92C2}" dt="2023-10-24T23:20:56.602" v="13"/>
          <ac:spMkLst>
            <pc:docMk/>
            <pc:sldMk cId="0" sldId="262"/>
            <ac:spMk id="4" creationId="{00000000-0000-0000-0000-000000000000}"/>
          </ac:spMkLst>
        </pc:spChg>
      </pc:sldChg>
      <pc:sldChg chg="modSp mod">
        <pc:chgData name="Achmad Zaenuri" userId="e962b4c0-c8ac-4048-b6b8-c2c30e25db3b" providerId="ADAL" clId="{4C96CDDA-029D-4DAE-9AE4-28AA5FBB92C2}" dt="2023-10-24T23:20:56.638" v="14" actId="27636"/>
        <pc:sldMkLst>
          <pc:docMk/>
          <pc:sldMk cId="0" sldId="263"/>
        </pc:sldMkLst>
        <pc:spChg chg="mod">
          <ac:chgData name="Achmad Zaenuri" userId="e962b4c0-c8ac-4048-b6b8-c2c30e25db3b" providerId="ADAL" clId="{4C96CDDA-029D-4DAE-9AE4-28AA5FBB92C2}" dt="2023-10-24T23:20:56.638" v="14" actId="27636"/>
          <ac:spMkLst>
            <pc:docMk/>
            <pc:sldMk cId="0" sldId="263"/>
            <ac:spMk id="4" creationId="{00000000-0000-0000-0000-000000000000}"/>
          </ac:spMkLst>
        </pc:spChg>
      </pc:sldChg>
      <pc:sldChg chg="del">
        <pc:chgData name="Achmad Zaenuri" userId="e962b4c0-c8ac-4048-b6b8-c2c30e25db3b" providerId="ADAL" clId="{4C96CDDA-029D-4DAE-9AE4-28AA5FBB92C2}" dt="2023-10-24T20:38:25.299" v="12" actId="2696"/>
        <pc:sldMkLst>
          <pc:docMk/>
          <pc:sldMk cId="0" sldId="264"/>
        </pc:sldMkLst>
      </pc:sldChg>
      <pc:sldChg chg="modSp">
        <pc:chgData name="Achmad Zaenuri" userId="e962b4c0-c8ac-4048-b6b8-c2c30e25db3b" providerId="ADAL" clId="{4C96CDDA-029D-4DAE-9AE4-28AA5FBB92C2}" dt="2023-10-24T23:20:56.602" v="13"/>
        <pc:sldMkLst>
          <pc:docMk/>
          <pc:sldMk cId="0" sldId="266"/>
        </pc:sldMkLst>
        <pc:spChg chg="mod">
          <ac:chgData name="Achmad Zaenuri" userId="e962b4c0-c8ac-4048-b6b8-c2c30e25db3b" providerId="ADAL" clId="{4C96CDDA-029D-4DAE-9AE4-28AA5FBB92C2}" dt="2023-10-24T23:20:56.602" v="13"/>
          <ac:spMkLst>
            <pc:docMk/>
            <pc:sldMk cId="0" sldId="266"/>
            <ac:spMk id="4" creationId="{00000000-0000-0000-0000-000000000000}"/>
          </ac:spMkLst>
        </pc:spChg>
      </pc:sldChg>
      <pc:sldChg chg="add">
        <pc:chgData name="Achmad Zaenuri" userId="e962b4c0-c8ac-4048-b6b8-c2c30e25db3b" providerId="ADAL" clId="{4C96CDDA-029D-4DAE-9AE4-28AA5FBB92C2}" dt="2023-10-25T02:45:26.457" v="18" actId="2890"/>
        <pc:sldMkLst>
          <pc:docMk/>
          <pc:sldMk cId="14937840" sldId="267"/>
        </pc:sldMkLst>
      </pc:sldChg>
      <pc:sldMasterChg chg="modSldLayout">
        <pc:chgData name="Achmad Zaenuri" userId="e962b4c0-c8ac-4048-b6b8-c2c30e25db3b" providerId="ADAL" clId="{4C96CDDA-029D-4DAE-9AE4-28AA5FBB92C2}" dt="2023-10-24T23:20:58.423" v="17"/>
        <pc:sldMasterMkLst>
          <pc:docMk/>
          <pc:sldMasterMk cId="0" sldId="2147483654"/>
        </pc:sldMasterMkLst>
        <pc:sldLayoutChg chg="addSp delSp modSp">
          <pc:chgData name="Achmad Zaenuri" userId="e962b4c0-c8ac-4048-b6b8-c2c30e25db3b" providerId="ADAL" clId="{4C96CDDA-029D-4DAE-9AE4-28AA5FBB92C2}" dt="2023-10-24T23:20:58.423" v="17"/>
          <pc:sldLayoutMkLst>
            <pc:docMk/>
            <pc:sldMasterMk cId="0" sldId="2147483654"/>
            <pc:sldLayoutMk cId="3021358438" sldId="2147483671"/>
          </pc:sldLayoutMkLst>
          <pc:spChg chg="add del mod">
            <ac:chgData name="Achmad Zaenuri" userId="e962b4c0-c8ac-4048-b6b8-c2c30e25db3b" providerId="ADAL" clId="{4C96CDDA-029D-4DAE-9AE4-28AA5FBB92C2}" dt="2023-10-24T23:20:57.863" v="16"/>
            <ac:spMkLst>
              <pc:docMk/>
              <pc:sldMasterMk cId="0" sldId="2147483654"/>
              <pc:sldLayoutMk cId="3021358438" sldId="2147483671"/>
              <ac:spMk id="4" creationId="{F089E690-B649-86BB-50E7-B79DF371C61C}"/>
            </ac:spMkLst>
          </pc:spChg>
          <pc:spChg chg="add mod">
            <ac:chgData name="Achmad Zaenuri" userId="e962b4c0-c8ac-4048-b6b8-c2c30e25db3b" providerId="ADAL" clId="{4C96CDDA-029D-4DAE-9AE4-28AA5FBB92C2}" dt="2023-10-24T23:20:58.423" v="17"/>
            <ac:spMkLst>
              <pc:docMk/>
              <pc:sldMasterMk cId="0" sldId="2147483654"/>
              <pc:sldLayoutMk cId="3021358438" sldId="2147483671"/>
              <ac:spMk id="5" creationId="{88E2F906-EC92-71FC-817C-7126886388A7}"/>
            </ac:spMkLst>
          </pc:spChg>
          <pc:spChg chg="del">
            <ac:chgData name="Achmad Zaenuri" userId="e962b4c0-c8ac-4048-b6b8-c2c30e25db3b" providerId="ADAL" clId="{4C96CDDA-029D-4DAE-9AE4-28AA5FBB92C2}" dt="2023-10-24T23:20:56.602" v="13"/>
            <ac:spMkLst>
              <pc:docMk/>
              <pc:sldMasterMk cId="0" sldId="2147483654"/>
              <pc:sldLayoutMk cId="3021358438" sldId="2147483671"/>
              <ac:spMk id="16" creationId="{00000000-0000-0000-0000-000000000000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ASIC_LAYOUT" preserve="1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8E2F906-EC92-71FC-817C-712688638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02135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D679FE-3B60-23E0-8EBD-D3204877DB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06DCB6-BDD3-0C02-D0C6-B4B53F933815}"/>
              </a:ext>
            </a:extLst>
          </p:cNvPr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 Slides GPT Plugin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63" r:id="rId2"/>
    <p:sldLayoutId id="2147483671" r:id="rId3"/>
    <p:sldLayoutId id="2147483673" r:id="rId4"/>
    <p:sldLayoutId id="2147483666" r:id="rId5"/>
    <p:sldLayoutId id="2147483662" r:id="rId6"/>
    <p:sldLayoutId id="2147483664" r:id="rId7"/>
    <p:sldLayoutId id="2147483660" r:id="rId8"/>
    <p:sldLayoutId id="2147483657" r:id="rId9"/>
    <p:sldLayoutId id="2147483665" r:id="rId10"/>
    <p:sldLayoutId id="2147483674" r:id="rId11"/>
    <p:sldLayoutId id="2147483658" r:id="rId12"/>
    <p:sldLayoutId id="2147483661" r:id="rId13"/>
    <p:sldLayoutId id="2147483655" r:id="rId14"/>
    <p:sldLayoutId id="2147483659" r:id="rId15"/>
    <p:sldLayoutId id="2147483656" r:id="rId16"/>
    <p:sldLayoutId id="2147483668" r:id="rId17"/>
    <p:sldLayoutId id="2147483669" r:id="rId18"/>
    <p:sldLayoutId id="214748367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  <p:pic>
        <p:nvPicPr>
          <p:cNvPr id="3" name="Picture Placeholder 2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FFFFFF"/>
                </a:solidFill>
                <a:latin typeface="Arial"/>
              </a:defRPr>
            </a:pPr>
            <a:r>
              <a:rPr dirty="0"/>
              <a:t>Chapter 1: Understanding Elasticsearch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rPr dirty="0"/>
              <a:t>Introduction to Elasticsearch 8</a:t>
            </a:r>
          </a:p>
          <a:p>
            <a:pPr>
              <a:defRPr sz="3600">
                <a:latin typeface="Arial"/>
              </a:defRPr>
            </a:pPr>
            <a:r>
              <a:rPr dirty="0"/>
              <a:t>Key Features and Advancement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rPr lang="en-US" dirty="0">
                <a:latin typeface="+mn-lt"/>
                <a:ea typeface="Anonymice Powerline" panose="02060609030202000504" pitchFamily="49" charset="0"/>
              </a:rPr>
              <a:t>Part I: Basic usages</a:t>
            </a:r>
          </a:p>
          <a:p>
            <a:pPr>
              <a:defRPr sz="3600">
                <a:latin typeface="Arial"/>
              </a:defRPr>
            </a:pPr>
            <a:r>
              <a:rPr lang="en-US" dirty="0">
                <a:latin typeface="+mn-lt"/>
                <a:ea typeface="Anonymice Powerline" panose="02060609030202000504" pitchFamily="49" charset="0"/>
              </a:rPr>
              <a:t>Part II: Data ingestion and visualization</a:t>
            </a:r>
          </a:p>
          <a:p>
            <a:pPr>
              <a:defRPr sz="3600">
                <a:latin typeface="Arial"/>
              </a:defRPr>
            </a:pPr>
            <a:r>
              <a:rPr lang="en-US" dirty="0">
                <a:latin typeface="+mn-lt"/>
                <a:ea typeface="Anonymice Powerline" panose="02060609030202000504" pitchFamily="49" charset="0"/>
              </a:rPr>
              <a:t>Part III: Operation and Administr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31000" y="1028700"/>
            <a:ext cx="13968341" cy="981900"/>
          </a:xfrm>
        </p:spPr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rPr lang="en-US" dirty="0"/>
              <a:t>Outline</a:t>
            </a:r>
            <a:endParaRPr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rPr dirty="0"/>
              <a:t>Using Docker-Compose for installation</a:t>
            </a:r>
            <a:endParaRPr lang="en-US" dirty="0"/>
          </a:p>
          <a:p>
            <a:pPr lvl="1">
              <a:defRPr sz="3600">
                <a:latin typeface="Arial"/>
              </a:defRPr>
            </a:pPr>
            <a:r>
              <a:rPr lang="en-ID" dirty="0">
                <a:latin typeface="Anonymice Powerline" panose="02060609030202000504" pitchFamily="49" charset="0"/>
                <a:ea typeface="Anonymice Powerline" panose="02060609030202000504" pitchFamily="49" charset="0"/>
              </a:rPr>
              <a:t>https://github.com/deviantony/docker-elk/</a:t>
            </a:r>
          </a:p>
          <a:p>
            <a:pPr>
              <a:defRPr sz="3600">
                <a:latin typeface="Arial"/>
              </a:defRPr>
            </a:pPr>
            <a:endParaRPr dirty="0"/>
          </a:p>
          <a:p>
            <a:pPr>
              <a:defRPr sz="3600">
                <a:latin typeface="Arial"/>
              </a:defRPr>
            </a:pPr>
            <a:r>
              <a:rPr dirty="0"/>
              <a:t>Benefits of containerized environments</a:t>
            </a:r>
            <a:endParaRPr lang="en-US" dirty="0"/>
          </a:p>
          <a:p>
            <a:pPr>
              <a:defRPr sz="3600">
                <a:latin typeface="Arial"/>
              </a:defRPr>
            </a:pPr>
            <a:endParaRPr lang="en-ID" dirty="0"/>
          </a:p>
          <a:p>
            <a:pPr lvl="1">
              <a:defRPr sz="3600">
                <a:latin typeface="Arial"/>
              </a:defRPr>
            </a:pPr>
            <a:r>
              <a:rPr lang="en-US" dirty="0">
                <a:latin typeface="Anonymice Powerline" panose="02060609030202000504" pitchFamily="49" charset="0"/>
                <a:ea typeface="Anonymice Powerline" panose="02060609030202000504" pitchFamily="49" charset="0"/>
              </a:rPr>
              <a:t>curl -u </a:t>
            </a:r>
            <a:r>
              <a:rPr lang="en-US" dirty="0" err="1">
                <a:latin typeface="Anonymice Powerline" panose="02060609030202000504" pitchFamily="49" charset="0"/>
                <a:ea typeface="Anonymice Powerline" panose="02060609030202000504" pitchFamily="49" charset="0"/>
              </a:rPr>
              <a:t>elastic:changeme</a:t>
            </a:r>
            <a:r>
              <a:rPr lang="en-US" dirty="0">
                <a:latin typeface="Anonymice Powerline" panose="02060609030202000504" pitchFamily="49" charset="0"/>
                <a:ea typeface="Anonymice Powerline" panose="02060609030202000504" pitchFamily="49" charset="0"/>
              </a:rPr>
              <a:t> http://localhost:9200/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31000" y="1028700"/>
            <a:ext cx="13968341" cy="981900"/>
          </a:xfrm>
        </p:spPr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Installing Elasticsearch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9378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rPr dirty="0"/>
              <a:t>Distributed search engine</a:t>
            </a:r>
          </a:p>
          <a:p>
            <a:pPr>
              <a:defRPr sz="3600">
                <a:latin typeface="Arial"/>
              </a:defRPr>
            </a:pPr>
            <a:r>
              <a:rPr dirty="0"/>
              <a:t>Real-time indexing</a:t>
            </a:r>
          </a:p>
          <a:p>
            <a:pPr>
              <a:defRPr sz="3600">
                <a:latin typeface="Arial"/>
              </a:defRPr>
            </a:pPr>
            <a:r>
              <a:rPr dirty="0"/>
              <a:t>Scalability and resilien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31000" y="1028700"/>
            <a:ext cx="13968341" cy="981900"/>
          </a:xfrm>
        </p:spPr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Elasticsearch Overview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Interacting with Elasticsearch</a:t>
            </a:r>
          </a:p>
          <a:p>
            <a:pPr>
              <a:defRPr sz="3600">
                <a:latin typeface="Arial"/>
              </a:defRPr>
            </a:pPr>
            <a:r>
              <a:t>CRUD operations via RESTful API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31000" y="1028700"/>
            <a:ext cx="13968341" cy="981900"/>
          </a:xfrm>
        </p:spPr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HTTP and RESTful API’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rPr dirty="0"/>
              <a:t>Node: A single instance of Elasticsearch.</a:t>
            </a:r>
          </a:p>
          <a:p>
            <a:pPr>
              <a:defRPr sz="3600">
                <a:latin typeface="Arial"/>
              </a:defRPr>
            </a:pPr>
            <a:r>
              <a:rPr dirty="0"/>
              <a:t>Cluster: A collection of nodes that hold the entire data.</a:t>
            </a:r>
          </a:p>
          <a:p>
            <a:pPr>
              <a:defRPr sz="3600">
                <a:latin typeface="Arial"/>
              </a:defRPr>
            </a:pPr>
            <a:r>
              <a:rPr dirty="0"/>
              <a:t>Index: A collection of documents with similar characteristics.</a:t>
            </a:r>
          </a:p>
          <a:p>
            <a:pPr>
              <a:defRPr sz="3600">
                <a:latin typeface="Arial"/>
              </a:defRPr>
            </a:pPr>
            <a:r>
              <a:rPr dirty="0"/>
              <a:t>Shard: A subset of an index's data.</a:t>
            </a:r>
          </a:p>
          <a:p>
            <a:pPr>
              <a:defRPr sz="3600">
                <a:latin typeface="Arial"/>
              </a:defRPr>
            </a:pPr>
            <a:r>
              <a:rPr dirty="0"/>
              <a:t>Replica: A copy of a shard for fault tolerance.</a:t>
            </a:r>
            <a:endParaRPr lang="en-US" dirty="0"/>
          </a:p>
          <a:p>
            <a:pPr>
              <a:defRPr sz="3600">
                <a:latin typeface="Arial"/>
              </a:defRPr>
            </a:pPr>
            <a:endParaRPr lang="en-US" dirty="0"/>
          </a:p>
          <a:p>
            <a:pPr>
              <a:defRPr sz="3600">
                <a:latin typeface="Arial"/>
              </a:defRPr>
            </a:pPr>
            <a:r>
              <a:rPr lang="en-US" dirty="0" err="1"/>
              <a:t>Jumlah</a:t>
            </a:r>
            <a:r>
              <a:rPr lang="en-US" dirty="0"/>
              <a:t> shard = (</a:t>
            </a:r>
            <a:r>
              <a:rPr lang="en-US" dirty="0" err="1"/>
              <a:t>jumlah</a:t>
            </a:r>
            <a:r>
              <a:rPr lang="en-US" dirty="0"/>
              <a:t> primary * </a:t>
            </a:r>
            <a:r>
              <a:rPr lang="en-US" dirty="0" err="1"/>
              <a:t>jumlah</a:t>
            </a:r>
            <a:r>
              <a:rPr lang="en-US" dirty="0"/>
              <a:t> replica) + </a:t>
            </a:r>
            <a:r>
              <a:rPr lang="en-US" dirty="0" err="1"/>
              <a:t>jumlah</a:t>
            </a:r>
            <a:r>
              <a:rPr lang="en-US" dirty="0"/>
              <a:t> primary</a:t>
            </a:r>
          </a:p>
          <a:p>
            <a:pPr>
              <a:defRPr sz="3600">
                <a:latin typeface="Arial"/>
              </a:defRPr>
            </a:pPr>
            <a:endParaRPr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31000" y="1028700"/>
            <a:ext cx="13968341" cy="981900"/>
          </a:xfrm>
        </p:spPr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Delving into Elasticsearch's Logical Concept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rPr dirty="0"/>
              <a:t>Relevance scoring in Elasticsearch</a:t>
            </a:r>
          </a:p>
          <a:p>
            <a:pPr>
              <a:defRPr sz="3600">
                <a:latin typeface="Arial"/>
              </a:defRPr>
            </a:pPr>
            <a:r>
              <a:rPr dirty="0"/>
              <a:t>Balancing term rarity with frequency for optimal search result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31000" y="1028700"/>
            <a:ext cx="13968341" cy="981900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Term Frequency / Inverse Document Frequency (TF/IDF)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rPr dirty="0"/>
              <a:t>Horizontal scaling with nodes and clusters</a:t>
            </a:r>
          </a:p>
          <a:p>
            <a:pPr>
              <a:defRPr sz="3600">
                <a:latin typeface="Arial"/>
              </a:defRPr>
            </a:pPr>
            <a:r>
              <a:rPr dirty="0"/>
              <a:t>Distributing data with shards</a:t>
            </a:r>
          </a:p>
          <a:p>
            <a:pPr>
              <a:defRPr sz="3600">
                <a:latin typeface="Arial"/>
              </a:defRPr>
            </a:pPr>
            <a:r>
              <a:rPr dirty="0"/>
              <a:t>Replicas for high availability and fault tolerance</a:t>
            </a:r>
          </a:p>
          <a:p>
            <a:pPr>
              <a:defRPr sz="3600">
                <a:latin typeface="Arial"/>
              </a:defRPr>
            </a:pPr>
            <a:r>
              <a:rPr dirty="0"/>
              <a:t>Balancing load and optimizing performan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31000" y="1028700"/>
            <a:ext cx="13968341" cy="981900"/>
          </a:xfrm>
        </p:spPr>
        <p:txBody>
          <a:bodyPr/>
          <a:lstStyle/>
          <a:p>
            <a:pPr>
              <a:defRPr sz="4600">
                <a:solidFill>
                  <a:srgbClr val="06C1AE"/>
                </a:solidFill>
                <a:latin typeface="Arial"/>
              </a:defRPr>
            </a:pPr>
            <a:r>
              <a:t>How Elasticsearch Sca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6C1AE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89</TotalTime>
  <Words>203</Words>
  <Application>Microsoft Office PowerPoint</Application>
  <PresentationFormat>Custom</PresentationFormat>
  <Paragraphs>37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nonymice Powerline</vt:lpstr>
      <vt:lpstr>Raleway</vt:lpstr>
      <vt:lpstr>Calibri</vt:lpstr>
      <vt:lpstr>Arial</vt:lpstr>
      <vt:lpstr>Roboto Light</vt:lpstr>
      <vt:lpstr>Smart Slides v1</vt:lpstr>
      <vt:lpstr>think-cell Slide</vt:lpstr>
      <vt:lpstr>Chapter 1: Understanding Elasticsearch</vt:lpstr>
      <vt:lpstr>Outline</vt:lpstr>
      <vt:lpstr>Installing Elasticsearch</vt:lpstr>
      <vt:lpstr>Elasticsearch Overview</vt:lpstr>
      <vt:lpstr>HTTP and RESTful API’s</vt:lpstr>
      <vt:lpstr>Delving into Elasticsearch's Logical Concepts</vt:lpstr>
      <vt:lpstr>Term Frequency / Inverse Document Frequency (TF/IDF)</vt:lpstr>
      <vt:lpstr>How Elasticsearch Scal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dc:creator>achmad zaenuri</dc:creator>
  <cp:lastModifiedBy>achmad zaenuri</cp:lastModifiedBy>
  <cp:revision>64</cp:revision>
  <dcterms:modified xsi:type="dcterms:W3CDTF">2023-10-25T03:43:28Z</dcterms:modified>
</cp:coreProperties>
</file>